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653" r:id="rId2"/>
    <p:sldMasterId id="2147483665" r:id="rId3"/>
  </p:sldMasterIdLst>
  <p:notesMasterIdLst>
    <p:notesMasterId r:id="rId5"/>
  </p:notesMasterIdLst>
  <p:handoutMasterIdLst>
    <p:handoutMasterId r:id="rId6"/>
  </p:handoutMasterIdLst>
  <p:sldIdLst>
    <p:sldId id="279" r:id="rId4"/>
  </p:sldIdLst>
  <p:sldSz cx="21396325" cy="30267275"/>
  <p:notesSz cx="6729413" cy="9867900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1950472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275550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2600628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3" userDrawn="1">
          <p15:clr>
            <a:srgbClr val="A4A3A4"/>
          </p15:clr>
        </p15:guide>
        <p15:guide id="2" orient="horz" pos="18550" userDrawn="1">
          <p15:clr>
            <a:srgbClr val="A4A3A4"/>
          </p15:clr>
        </p15:guide>
        <p15:guide id="3" orient="horz" pos="18219" userDrawn="1">
          <p15:clr>
            <a:srgbClr val="A4A3A4"/>
          </p15:clr>
        </p15:guide>
        <p15:guide id="4" orient="horz" pos="927" userDrawn="1">
          <p15:clr>
            <a:srgbClr val="A4A3A4"/>
          </p15:clr>
        </p15:guide>
        <p15:guide id="5" orient="horz" pos="1463" userDrawn="1">
          <p15:clr>
            <a:srgbClr val="A4A3A4"/>
          </p15:clr>
        </p15:guide>
        <p15:guide id="6" orient="horz" pos="288" userDrawn="1">
          <p15:clr>
            <a:srgbClr val="A4A3A4"/>
          </p15:clr>
        </p15:guide>
        <p15:guide id="7" orient="horz" pos="18735" userDrawn="1">
          <p15:clr>
            <a:srgbClr val="A4A3A4"/>
          </p15:clr>
        </p15:guide>
        <p15:guide id="8" pos="899" userDrawn="1">
          <p15:clr>
            <a:srgbClr val="A4A3A4"/>
          </p15:clr>
        </p15:guide>
        <p15:guide id="9" pos="12134" userDrawn="1">
          <p15:clr>
            <a:srgbClr val="A4A3A4"/>
          </p15:clr>
        </p15:guide>
        <p15:guide id="10" pos="13178" userDrawn="1">
          <p15:clr>
            <a:srgbClr val="A4A3A4"/>
          </p15:clr>
        </p15:guide>
        <p15:guide id="11" pos="3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ABE2"/>
    <a:srgbClr val="000000"/>
    <a:srgbClr val="6E2B89"/>
    <a:srgbClr val="66FF33"/>
    <a:srgbClr val="66CCFF"/>
    <a:srgbClr val="339933"/>
    <a:srgbClr val="FFCC00"/>
    <a:srgbClr val="E552A3"/>
    <a:srgbClr val="29DB90"/>
    <a:srgbClr val="A90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355D98-2F7E-4D9F-87F3-0469582BDFBC}" v="3" dt="2022-11-16T09:16:03.9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6389" autoAdjust="0"/>
  </p:normalViewPr>
  <p:slideViewPr>
    <p:cSldViewPr showGuides="1">
      <p:cViewPr>
        <p:scale>
          <a:sx n="33" d="100"/>
          <a:sy n="33" d="100"/>
        </p:scale>
        <p:origin x="6864" y="480"/>
      </p:cViewPr>
      <p:guideLst>
        <p:guide orient="horz" pos="1933"/>
        <p:guide orient="horz" pos="18550"/>
        <p:guide orient="horz" pos="18219"/>
        <p:guide orient="horz" pos="927"/>
        <p:guide orient="horz" pos="1463"/>
        <p:guide orient="horz" pos="288"/>
        <p:guide orient="horz" pos="18735"/>
        <p:guide pos="899"/>
        <p:guide pos="12134"/>
        <p:guide pos="13178"/>
        <p:guide pos="30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930" y="-72"/>
      </p:cViewPr>
      <p:guideLst>
        <p:guide orient="horz" pos="3108"/>
        <p:guide pos="211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0" name="Picture 14" descr="asml-logo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0"/>
            <a:ext cx="2490788" cy="88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46088" y="360363"/>
            <a:ext cx="3913187" cy="38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52438" y="9374188"/>
            <a:ext cx="60325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157288" y="9374188"/>
            <a:ext cx="5089525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40475" y="9374188"/>
            <a:ext cx="388938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5CD6086E-A90C-42A2-A900-EF97CBA19A0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0382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asml-logo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8986838"/>
            <a:ext cx="2490788" cy="881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19163" y="239713"/>
            <a:ext cx="4891087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70088" y="739775"/>
            <a:ext cx="2790825" cy="3949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12775" y="4933950"/>
            <a:ext cx="5503863" cy="3736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dt" idx="1"/>
          </p:nvPr>
        </p:nvSpPr>
        <p:spPr bwMode="auto">
          <a:xfrm>
            <a:off x="50800" y="8747125"/>
            <a:ext cx="1071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3081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196975" y="8747125"/>
            <a:ext cx="48434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16638" y="8729663"/>
            <a:ext cx="612775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A1132A84-EFBD-4035-AFA0-0F9538467A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9047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50472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75550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600628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B937DF1-1BC2-4D49-86C1-5CD88441DD99}" type="slidenum">
              <a:rPr lang="en-US"/>
              <a:pPr/>
              <a:t>1</a:t>
            </a:fld>
            <a:endParaRPr lang="en-US"/>
          </a:p>
        </p:txBody>
      </p:sp>
      <p:sp>
        <p:nvSpPr>
          <p:cNvPr id="403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70088" y="739775"/>
            <a:ext cx="2790825" cy="3949700"/>
          </a:xfrm>
          <a:ln/>
        </p:spPr>
      </p:sp>
      <p:sp>
        <p:nvSpPr>
          <p:cNvPr id="403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1428449" y="1472987"/>
            <a:ext cx="11486933" cy="39436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1775"/>
              </a:lnSpc>
              <a:defRPr sz="291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0" name="Ondertitel 2"/>
          <p:cNvSpPr>
            <a:spLocks noGrp="1"/>
          </p:cNvSpPr>
          <p:nvPr>
            <p:ph type="subTitle" idx="1"/>
          </p:nvPr>
        </p:nvSpPr>
        <p:spPr>
          <a:xfrm>
            <a:off x="1428449" y="2088887"/>
            <a:ext cx="11486933" cy="24647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ts val="1111"/>
              </a:lnSpc>
              <a:spcAft>
                <a:spcPts val="0"/>
              </a:spcAft>
              <a:buNone/>
              <a:defRPr sz="2080" b="0">
                <a:solidFill>
                  <a:schemeClr val="tx1"/>
                </a:solidFill>
              </a:defRPr>
            </a:lvl1pPr>
            <a:lvl2pPr marL="338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6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52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90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6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04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42" name="Tijdelijke aanduiding voor tekst 41"/>
          <p:cNvSpPr>
            <a:spLocks noGrp="1"/>
          </p:cNvSpPr>
          <p:nvPr>
            <p:ph type="body" sz="quarter" idx="10" hasCustomPrompt="1"/>
          </p:nvPr>
        </p:nvSpPr>
        <p:spPr>
          <a:xfrm>
            <a:off x="13819307" y="2746854"/>
            <a:ext cx="5442283" cy="36971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spcAft>
                <a:spcPts val="0"/>
              </a:spcAft>
              <a:defRPr sz="2912"/>
            </a:lvl1pPr>
          </a:lstStyle>
          <a:p>
            <a:pPr lvl="0"/>
            <a:r>
              <a:rPr lang="nl-NL" sz="2912" dirty="0" err="1"/>
              <a:t>Category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55103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171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9818" y="1204655"/>
            <a:ext cx="7038906" cy="5128757"/>
          </a:xfrm>
        </p:spPr>
        <p:txBody>
          <a:bodyPr anchor="b"/>
          <a:lstStyle>
            <a:lvl1pPr algn="l">
              <a:defRPr sz="16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65035" y="1204655"/>
            <a:ext cx="11961475" cy="25832758"/>
          </a:xfrm>
        </p:spPr>
        <p:txBody>
          <a:bodyPr/>
          <a:lstStyle>
            <a:lvl1pPr>
              <a:defRPr sz="2496"/>
            </a:lvl1pPr>
            <a:lvl2pPr>
              <a:defRPr sz="2080"/>
            </a:lvl2pPr>
            <a:lvl3pPr>
              <a:defRPr sz="1664"/>
            </a:lvl3pPr>
            <a:lvl4pPr>
              <a:defRPr sz="1664"/>
            </a:lvl4pPr>
            <a:lvl5pPr>
              <a:defRPr sz="1664"/>
            </a:lvl5pPr>
            <a:lvl6pPr>
              <a:defRPr sz="1664"/>
            </a:lvl6pPr>
            <a:lvl7pPr>
              <a:defRPr sz="1664"/>
            </a:lvl7pPr>
            <a:lvl8pPr>
              <a:defRPr sz="1664"/>
            </a:lvl8pPr>
            <a:lvl9pPr>
              <a:defRPr sz="16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9818" y="6333412"/>
            <a:ext cx="7038906" cy="20703998"/>
          </a:xfrm>
        </p:spPr>
        <p:txBody>
          <a:bodyPr/>
          <a:lstStyle>
            <a:lvl1pPr marL="0" indent="0">
              <a:buNone/>
              <a:defRPr sz="832"/>
            </a:lvl1pPr>
            <a:lvl2pPr marL="338064" indent="0">
              <a:buNone/>
              <a:defRPr sz="832"/>
            </a:lvl2pPr>
            <a:lvl3pPr marL="676129" indent="0">
              <a:buNone/>
              <a:defRPr sz="832"/>
            </a:lvl3pPr>
            <a:lvl4pPr marL="1014193" indent="0">
              <a:buNone/>
              <a:defRPr sz="832"/>
            </a:lvl4pPr>
            <a:lvl5pPr marL="1352262" indent="0">
              <a:buNone/>
              <a:defRPr sz="832"/>
            </a:lvl5pPr>
            <a:lvl6pPr marL="1690328" indent="0">
              <a:buNone/>
              <a:defRPr sz="832"/>
            </a:lvl6pPr>
            <a:lvl7pPr marL="2028392" indent="0">
              <a:buNone/>
              <a:defRPr sz="832"/>
            </a:lvl7pPr>
            <a:lvl8pPr marL="2366457" indent="0">
              <a:buNone/>
              <a:defRPr sz="832"/>
            </a:lvl8pPr>
            <a:lvl9pPr marL="2704521" indent="0">
              <a:buNone/>
              <a:defRPr sz="8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556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4166" y="21186684"/>
            <a:ext cx="12837795" cy="2501734"/>
          </a:xfrm>
        </p:spPr>
        <p:txBody>
          <a:bodyPr anchor="b"/>
          <a:lstStyle>
            <a:lvl1pPr algn="l">
              <a:defRPr sz="16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94166" y="2704049"/>
            <a:ext cx="12837795" cy="18161186"/>
          </a:xfrm>
        </p:spPr>
        <p:txBody>
          <a:bodyPr/>
          <a:lstStyle>
            <a:lvl1pPr marL="0" indent="0">
              <a:buNone/>
              <a:defRPr sz="2496"/>
            </a:lvl1pPr>
            <a:lvl2pPr marL="338064" indent="0">
              <a:buNone/>
              <a:defRPr sz="2080"/>
            </a:lvl2pPr>
            <a:lvl3pPr marL="676129" indent="0">
              <a:buNone/>
              <a:defRPr sz="1664"/>
            </a:lvl3pPr>
            <a:lvl4pPr marL="1014193" indent="0">
              <a:buNone/>
              <a:defRPr sz="1664"/>
            </a:lvl4pPr>
            <a:lvl5pPr marL="1352262" indent="0">
              <a:buNone/>
              <a:defRPr sz="1664"/>
            </a:lvl5pPr>
            <a:lvl6pPr marL="1690328" indent="0">
              <a:buNone/>
              <a:defRPr sz="1664"/>
            </a:lvl6pPr>
            <a:lvl7pPr marL="2028392" indent="0">
              <a:buNone/>
              <a:defRPr sz="1664"/>
            </a:lvl7pPr>
            <a:lvl8pPr marL="2366457" indent="0">
              <a:buNone/>
              <a:defRPr sz="1664"/>
            </a:lvl8pPr>
            <a:lvl9pPr marL="2704521" indent="0">
              <a:buNone/>
              <a:defRPr sz="1664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4166" y="23688418"/>
            <a:ext cx="12837795" cy="3552337"/>
          </a:xfrm>
        </p:spPr>
        <p:txBody>
          <a:bodyPr/>
          <a:lstStyle>
            <a:lvl1pPr marL="0" indent="0">
              <a:buNone/>
              <a:defRPr sz="832"/>
            </a:lvl1pPr>
            <a:lvl2pPr marL="338064" indent="0">
              <a:buNone/>
              <a:defRPr sz="832"/>
            </a:lvl2pPr>
            <a:lvl3pPr marL="676129" indent="0">
              <a:buNone/>
              <a:defRPr sz="832"/>
            </a:lvl3pPr>
            <a:lvl4pPr marL="1014193" indent="0">
              <a:buNone/>
              <a:defRPr sz="832"/>
            </a:lvl4pPr>
            <a:lvl5pPr marL="1352262" indent="0">
              <a:buNone/>
              <a:defRPr sz="832"/>
            </a:lvl5pPr>
            <a:lvl6pPr marL="1690328" indent="0">
              <a:buNone/>
              <a:defRPr sz="832"/>
            </a:lvl6pPr>
            <a:lvl7pPr marL="2028392" indent="0">
              <a:buNone/>
              <a:defRPr sz="832"/>
            </a:lvl7pPr>
            <a:lvl8pPr marL="2366457" indent="0">
              <a:buNone/>
              <a:defRPr sz="832"/>
            </a:lvl8pPr>
            <a:lvl9pPr marL="2704521" indent="0">
              <a:buNone/>
              <a:defRPr sz="8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518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423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12335" y="1211845"/>
            <a:ext cx="4814175" cy="258255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9818" y="1211845"/>
            <a:ext cx="14345264" cy="2582556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05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4729" y="9402041"/>
            <a:ext cx="18186876" cy="64884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9449" y="17151664"/>
            <a:ext cx="14977428" cy="77352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38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6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52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90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6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04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51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333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9827" y="19449026"/>
            <a:ext cx="18186876" cy="6011963"/>
          </a:xfrm>
        </p:spPr>
        <p:txBody>
          <a:bodyPr anchor="t"/>
          <a:lstStyle>
            <a:lvl1pPr algn="l">
              <a:defRPr sz="291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9827" y="12828058"/>
            <a:ext cx="18186876" cy="6620966"/>
          </a:xfrm>
        </p:spPr>
        <p:txBody>
          <a:bodyPr anchor="b"/>
          <a:lstStyle>
            <a:lvl1pPr marL="0" indent="0">
              <a:buNone/>
              <a:defRPr sz="1664">
                <a:solidFill>
                  <a:schemeClr val="tx1">
                    <a:tint val="75000"/>
                  </a:schemeClr>
                </a:solidFill>
              </a:defRPr>
            </a:lvl1pPr>
            <a:lvl2pPr marL="338064" indent="0">
              <a:buNone/>
              <a:defRPr sz="1248">
                <a:solidFill>
                  <a:schemeClr val="tx1">
                    <a:tint val="75000"/>
                  </a:schemeClr>
                </a:solidFill>
              </a:defRPr>
            </a:lvl2pPr>
            <a:lvl3pPr marL="676129" indent="0">
              <a:buNone/>
              <a:defRPr sz="1248">
                <a:solidFill>
                  <a:schemeClr val="tx1">
                    <a:tint val="75000"/>
                  </a:schemeClr>
                </a:solidFill>
              </a:defRPr>
            </a:lvl3pPr>
            <a:lvl4pPr marL="1014193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4pPr>
            <a:lvl5pPr marL="1352262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5pPr>
            <a:lvl6pPr marL="1690328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6pPr>
            <a:lvl7pPr marL="2028392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7pPr>
            <a:lvl8pPr marL="2366457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8pPr>
            <a:lvl9pPr marL="2704521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32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18" y="7062569"/>
            <a:ext cx="9579717" cy="19974839"/>
          </a:xfrm>
        </p:spPr>
        <p:txBody>
          <a:bodyPr/>
          <a:lstStyle>
            <a:lvl1pPr>
              <a:defRPr sz="2080"/>
            </a:lvl1pPr>
            <a:lvl2pPr>
              <a:defRPr sz="1664"/>
            </a:lvl2pPr>
            <a:lvl3pPr>
              <a:defRPr sz="1664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746795" y="7062569"/>
            <a:ext cx="9579717" cy="19974839"/>
          </a:xfrm>
        </p:spPr>
        <p:txBody>
          <a:bodyPr/>
          <a:lstStyle>
            <a:lvl1pPr>
              <a:defRPr sz="2080"/>
            </a:lvl1pPr>
            <a:lvl2pPr>
              <a:defRPr sz="1664"/>
            </a:lvl2pPr>
            <a:lvl3pPr>
              <a:defRPr sz="1664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467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20" y="6775014"/>
            <a:ext cx="9454097" cy="2823178"/>
          </a:xfrm>
        </p:spPr>
        <p:txBody>
          <a:bodyPr anchor="b"/>
          <a:lstStyle>
            <a:lvl1pPr marL="0" indent="0">
              <a:buNone/>
              <a:defRPr sz="1664" b="1"/>
            </a:lvl1pPr>
            <a:lvl2pPr marL="338064" indent="0">
              <a:buNone/>
              <a:defRPr sz="1664" b="1"/>
            </a:lvl2pPr>
            <a:lvl3pPr marL="676129" indent="0">
              <a:buNone/>
              <a:defRPr sz="1248" b="1"/>
            </a:lvl3pPr>
            <a:lvl4pPr marL="1014193" indent="0">
              <a:buNone/>
              <a:defRPr sz="1248" b="1"/>
            </a:lvl4pPr>
            <a:lvl5pPr marL="1352262" indent="0">
              <a:buNone/>
              <a:defRPr sz="1248" b="1"/>
            </a:lvl5pPr>
            <a:lvl6pPr marL="1690328" indent="0">
              <a:buNone/>
              <a:defRPr sz="1248" b="1"/>
            </a:lvl6pPr>
            <a:lvl7pPr marL="2028392" indent="0">
              <a:buNone/>
              <a:defRPr sz="1248" b="1"/>
            </a:lvl7pPr>
            <a:lvl8pPr marL="2366457" indent="0">
              <a:buNone/>
              <a:defRPr sz="1248" b="1"/>
            </a:lvl8pPr>
            <a:lvl9pPr marL="2704521" indent="0">
              <a:buNone/>
              <a:defRPr sz="124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20" y="9598193"/>
            <a:ext cx="9454097" cy="17439217"/>
          </a:xfrm>
        </p:spPr>
        <p:txBody>
          <a:bodyPr/>
          <a:lstStyle>
            <a:lvl1pPr>
              <a:defRPr sz="1664"/>
            </a:lvl1pPr>
            <a:lvl2pPr>
              <a:defRPr sz="1664"/>
            </a:lvl2pPr>
            <a:lvl3pPr>
              <a:defRPr sz="1248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869377" y="6775014"/>
            <a:ext cx="9457134" cy="2823178"/>
          </a:xfrm>
        </p:spPr>
        <p:txBody>
          <a:bodyPr anchor="b"/>
          <a:lstStyle>
            <a:lvl1pPr marL="0" indent="0">
              <a:buNone/>
              <a:defRPr sz="1664" b="1"/>
            </a:lvl1pPr>
            <a:lvl2pPr marL="338064" indent="0">
              <a:buNone/>
              <a:defRPr sz="1664" b="1"/>
            </a:lvl2pPr>
            <a:lvl3pPr marL="676129" indent="0">
              <a:buNone/>
              <a:defRPr sz="1248" b="1"/>
            </a:lvl3pPr>
            <a:lvl4pPr marL="1014193" indent="0">
              <a:buNone/>
              <a:defRPr sz="1248" b="1"/>
            </a:lvl4pPr>
            <a:lvl5pPr marL="1352262" indent="0">
              <a:buNone/>
              <a:defRPr sz="1248" b="1"/>
            </a:lvl5pPr>
            <a:lvl6pPr marL="1690328" indent="0">
              <a:buNone/>
              <a:defRPr sz="1248" b="1"/>
            </a:lvl6pPr>
            <a:lvl7pPr marL="2028392" indent="0">
              <a:buNone/>
              <a:defRPr sz="1248" b="1"/>
            </a:lvl7pPr>
            <a:lvl8pPr marL="2366457" indent="0">
              <a:buNone/>
              <a:defRPr sz="1248" b="1"/>
            </a:lvl8pPr>
            <a:lvl9pPr marL="2704521" indent="0">
              <a:buNone/>
              <a:defRPr sz="124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869377" y="9598193"/>
            <a:ext cx="9457134" cy="17439217"/>
          </a:xfrm>
        </p:spPr>
        <p:txBody>
          <a:bodyPr/>
          <a:lstStyle>
            <a:lvl1pPr>
              <a:defRPr sz="1664"/>
            </a:lvl1pPr>
            <a:lvl2pPr>
              <a:defRPr sz="1664"/>
            </a:lvl2pPr>
            <a:lvl3pPr>
              <a:defRPr sz="1248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257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9816" y="1211840"/>
            <a:ext cx="19256693" cy="5044546"/>
          </a:xfrm>
          <a:prstGeom prst="rect">
            <a:avLst/>
          </a:prstGeom>
        </p:spPr>
        <p:txBody>
          <a:bodyPr lIns="65016" tIns="32508" rIns="65016" bIns="3250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5570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8296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343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9818" y="1204655"/>
            <a:ext cx="7038906" cy="5128757"/>
          </a:xfrm>
        </p:spPr>
        <p:txBody>
          <a:bodyPr anchor="b"/>
          <a:lstStyle>
            <a:lvl1pPr algn="l">
              <a:defRPr sz="16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65035" y="1204655"/>
            <a:ext cx="11961475" cy="25832758"/>
          </a:xfrm>
        </p:spPr>
        <p:txBody>
          <a:bodyPr/>
          <a:lstStyle>
            <a:lvl1pPr>
              <a:defRPr sz="2496"/>
            </a:lvl1pPr>
            <a:lvl2pPr>
              <a:defRPr sz="2080"/>
            </a:lvl2pPr>
            <a:lvl3pPr>
              <a:defRPr sz="1664"/>
            </a:lvl3pPr>
            <a:lvl4pPr>
              <a:defRPr sz="1664"/>
            </a:lvl4pPr>
            <a:lvl5pPr>
              <a:defRPr sz="1664"/>
            </a:lvl5pPr>
            <a:lvl6pPr>
              <a:defRPr sz="1664"/>
            </a:lvl6pPr>
            <a:lvl7pPr>
              <a:defRPr sz="1664"/>
            </a:lvl7pPr>
            <a:lvl8pPr>
              <a:defRPr sz="1664"/>
            </a:lvl8pPr>
            <a:lvl9pPr>
              <a:defRPr sz="16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9818" y="6333412"/>
            <a:ext cx="7038906" cy="20703998"/>
          </a:xfrm>
        </p:spPr>
        <p:txBody>
          <a:bodyPr/>
          <a:lstStyle>
            <a:lvl1pPr marL="0" indent="0">
              <a:buNone/>
              <a:defRPr sz="832"/>
            </a:lvl1pPr>
            <a:lvl2pPr marL="338064" indent="0">
              <a:buNone/>
              <a:defRPr sz="832"/>
            </a:lvl2pPr>
            <a:lvl3pPr marL="676129" indent="0">
              <a:buNone/>
              <a:defRPr sz="832"/>
            </a:lvl3pPr>
            <a:lvl4pPr marL="1014193" indent="0">
              <a:buNone/>
              <a:defRPr sz="832"/>
            </a:lvl4pPr>
            <a:lvl5pPr marL="1352262" indent="0">
              <a:buNone/>
              <a:defRPr sz="832"/>
            </a:lvl5pPr>
            <a:lvl6pPr marL="1690328" indent="0">
              <a:buNone/>
              <a:defRPr sz="832"/>
            </a:lvl6pPr>
            <a:lvl7pPr marL="2028392" indent="0">
              <a:buNone/>
              <a:defRPr sz="832"/>
            </a:lvl7pPr>
            <a:lvl8pPr marL="2366457" indent="0">
              <a:buNone/>
              <a:defRPr sz="832"/>
            </a:lvl8pPr>
            <a:lvl9pPr marL="2704521" indent="0">
              <a:buNone/>
              <a:defRPr sz="8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64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4166" y="21186684"/>
            <a:ext cx="12837795" cy="2501734"/>
          </a:xfrm>
        </p:spPr>
        <p:txBody>
          <a:bodyPr anchor="b"/>
          <a:lstStyle>
            <a:lvl1pPr algn="l">
              <a:defRPr sz="16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94166" y="2704049"/>
            <a:ext cx="12837795" cy="18161186"/>
          </a:xfrm>
        </p:spPr>
        <p:txBody>
          <a:bodyPr/>
          <a:lstStyle>
            <a:lvl1pPr marL="0" indent="0">
              <a:buNone/>
              <a:defRPr sz="2496"/>
            </a:lvl1pPr>
            <a:lvl2pPr marL="338064" indent="0">
              <a:buNone/>
              <a:defRPr sz="2080"/>
            </a:lvl2pPr>
            <a:lvl3pPr marL="676129" indent="0">
              <a:buNone/>
              <a:defRPr sz="1664"/>
            </a:lvl3pPr>
            <a:lvl4pPr marL="1014193" indent="0">
              <a:buNone/>
              <a:defRPr sz="1664"/>
            </a:lvl4pPr>
            <a:lvl5pPr marL="1352262" indent="0">
              <a:buNone/>
              <a:defRPr sz="1664"/>
            </a:lvl5pPr>
            <a:lvl6pPr marL="1690328" indent="0">
              <a:buNone/>
              <a:defRPr sz="1664"/>
            </a:lvl6pPr>
            <a:lvl7pPr marL="2028392" indent="0">
              <a:buNone/>
              <a:defRPr sz="1664"/>
            </a:lvl7pPr>
            <a:lvl8pPr marL="2366457" indent="0">
              <a:buNone/>
              <a:defRPr sz="1664"/>
            </a:lvl8pPr>
            <a:lvl9pPr marL="2704521" indent="0">
              <a:buNone/>
              <a:defRPr sz="1664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4166" y="23688418"/>
            <a:ext cx="12837795" cy="3552337"/>
          </a:xfrm>
        </p:spPr>
        <p:txBody>
          <a:bodyPr/>
          <a:lstStyle>
            <a:lvl1pPr marL="0" indent="0">
              <a:buNone/>
              <a:defRPr sz="832"/>
            </a:lvl1pPr>
            <a:lvl2pPr marL="338064" indent="0">
              <a:buNone/>
              <a:defRPr sz="832"/>
            </a:lvl2pPr>
            <a:lvl3pPr marL="676129" indent="0">
              <a:buNone/>
              <a:defRPr sz="832"/>
            </a:lvl3pPr>
            <a:lvl4pPr marL="1014193" indent="0">
              <a:buNone/>
              <a:defRPr sz="832"/>
            </a:lvl4pPr>
            <a:lvl5pPr marL="1352262" indent="0">
              <a:buNone/>
              <a:defRPr sz="832"/>
            </a:lvl5pPr>
            <a:lvl6pPr marL="1690328" indent="0">
              <a:buNone/>
              <a:defRPr sz="832"/>
            </a:lvl6pPr>
            <a:lvl7pPr marL="2028392" indent="0">
              <a:buNone/>
              <a:defRPr sz="832"/>
            </a:lvl7pPr>
            <a:lvl8pPr marL="2366457" indent="0">
              <a:buNone/>
              <a:defRPr sz="832"/>
            </a:lvl8pPr>
            <a:lvl9pPr marL="2704521" indent="0">
              <a:buNone/>
              <a:defRPr sz="8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930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173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12335" y="1211845"/>
            <a:ext cx="4814175" cy="258255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9818" y="1211845"/>
            <a:ext cx="14345264" cy="2582556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92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428450" y="4978467"/>
            <a:ext cx="17836348" cy="23943460"/>
          </a:xfrm>
          <a:prstGeom prst="rect">
            <a:avLst/>
          </a:prstGeom>
        </p:spPr>
        <p:txBody>
          <a:bodyPr lIns="65016" tIns="32508" rIns="65016" bIns="32508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12"/>
            </a:lvl1pPr>
            <a:lvl2pPr marL="1585856" indent="-79351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912">
                <a:solidFill>
                  <a:schemeClr val="tx1"/>
                </a:solidFill>
              </a:defRPr>
            </a:lvl2pPr>
            <a:lvl3pPr marL="2378197" indent="-79234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96">
                <a:solidFill>
                  <a:schemeClr val="tx1"/>
                </a:solidFill>
              </a:defRPr>
            </a:lvl3pPr>
            <a:lvl4pPr marL="3194015" indent="-81581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96">
                <a:solidFill>
                  <a:schemeClr val="tx1"/>
                </a:solidFill>
              </a:defRPr>
            </a:lvl4pPr>
            <a:lvl5pPr marL="3986351" indent="-79234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96">
                <a:solidFill>
                  <a:schemeClr val="tx1"/>
                </a:solidFill>
              </a:defRPr>
            </a:lvl5pPr>
            <a:lvl6pPr marL="4779870" indent="-79351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80">
                <a:solidFill>
                  <a:schemeClr val="tx1"/>
                </a:solidFill>
              </a:defRPr>
            </a:lvl6pPr>
            <a:lvl7pPr marL="5572207" indent="-79234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8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12674133" y="3842700"/>
            <a:ext cx="6589120" cy="20539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64">
                <a:solidFill>
                  <a:schemeClr val="tx1"/>
                </a:solidFill>
              </a:defRPr>
            </a:lvl1pPr>
          </a:lstStyle>
          <a:p>
            <a:r>
              <a:rPr lang="en-US"/>
              <a:t>Category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2674139" y="3376917"/>
            <a:ext cx="6588733" cy="20539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64">
                <a:solidFill>
                  <a:schemeClr val="tx1"/>
                </a:solidFill>
              </a:defRPr>
            </a:lvl1pPr>
          </a:lstStyle>
          <a:p>
            <a:r>
              <a:rPr lang="nl-NL"/>
              <a:t>Slide </a:t>
            </a:r>
            <a:fld id="{1D9B13CD-33A0-446D-8703-F89F9F109F54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74133" y="2911138"/>
            <a:ext cx="6596183" cy="20539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664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12th ASML Technology Conference June 29th, 2011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428978" y="1668642"/>
            <a:ext cx="10338238" cy="822105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0"/>
              </a:spcBef>
              <a:spcAft>
                <a:spcPts val="0"/>
              </a:spcAft>
              <a:defRPr sz="6656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0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1428449" y="2638180"/>
            <a:ext cx="10338238" cy="492952"/>
          </a:xfrm>
          <a:prstGeom prst="rect">
            <a:avLst/>
          </a:prstGeom>
        </p:spPr>
        <p:txBody>
          <a:bodyPr lIns="65016" tIns="32508" rIns="65016" bIns="32508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4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90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4729" y="9402041"/>
            <a:ext cx="18186876" cy="64884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9449" y="17151664"/>
            <a:ext cx="14977428" cy="77352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38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6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52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90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6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04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22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77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9827" y="19449026"/>
            <a:ext cx="18186876" cy="6011963"/>
          </a:xfrm>
        </p:spPr>
        <p:txBody>
          <a:bodyPr anchor="t"/>
          <a:lstStyle>
            <a:lvl1pPr algn="l">
              <a:defRPr sz="291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9827" y="12828058"/>
            <a:ext cx="18186876" cy="6620966"/>
          </a:xfrm>
        </p:spPr>
        <p:txBody>
          <a:bodyPr anchor="b"/>
          <a:lstStyle>
            <a:lvl1pPr marL="0" indent="0">
              <a:buNone/>
              <a:defRPr sz="1664">
                <a:solidFill>
                  <a:schemeClr val="tx1">
                    <a:tint val="75000"/>
                  </a:schemeClr>
                </a:solidFill>
              </a:defRPr>
            </a:lvl1pPr>
            <a:lvl2pPr marL="338064" indent="0">
              <a:buNone/>
              <a:defRPr sz="1248">
                <a:solidFill>
                  <a:schemeClr val="tx1">
                    <a:tint val="75000"/>
                  </a:schemeClr>
                </a:solidFill>
              </a:defRPr>
            </a:lvl2pPr>
            <a:lvl3pPr marL="676129" indent="0">
              <a:buNone/>
              <a:defRPr sz="1248">
                <a:solidFill>
                  <a:schemeClr val="tx1">
                    <a:tint val="75000"/>
                  </a:schemeClr>
                </a:solidFill>
              </a:defRPr>
            </a:lvl3pPr>
            <a:lvl4pPr marL="1014193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4pPr>
            <a:lvl5pPr marL="1352262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5pPr>
            <a:lvl6pPr marL="1690328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6pPr>
            <a:lvl7pPr marL="2028392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7pPr>
            <a:lvl8pPr marL="2366457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8pPr>
            <a:lvl9pPr marL="2704521" indent="0">
              <a:buNone/>
              <a:defRPr sz="8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015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18" y="7062569"/>
            <a:ext cx="9579717" cy="19974839"/>
          </a:xfrm>
        </p:spPr>
        <p:txBody>
          <a:bodyPr/>
          <a:lstStyle>
            <a:lvl1pPr>
              <a:defRPr sz="2080"/>
            </a:lvl1pPr>
            <a:lvl2pPr>
              <a:defRPr sz="1664"/>
            </a:lvl2pPr>
            <a:lvl3pPr>
              <a:defRPr sz="1664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746795" y="7062569"/>
            <a:ext cx="9579717" cy="19974839"/>
          </a:xfrm>
        </p:spPr>
        <p:txBody>
          <a:bodyPr/>
          <a:lstStyle>
            <a:lvl1pPr>
              <a:defRPr sz="2080"/>
            </a:lvl1pPr>
            <a:lvl2pPr>
              <a:defRPr sz="1664"/>
            </a:lvl2pPr>
            <a:lvl3pPr>
              <a:defRPr sz="1664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012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20" y="6775014"/>
            <a:ext cx="9454097" cy="2823178"/>
          </a:xfrm>
        </p:spPr>
        <p:txBody>
          <a:bodyPr anchor="b"/>
          <a:lstStyle>
            <a:lvl1pPr marL="0" indent="0">
              <a:buNone/>
              <a:defRPr sz="1664" b="1"/>
            </a:lvl1pPr>
            <a:lvl2pPr marL="338064" indent="0">
              <a:buNone/>
              <a:defRPr sz="1664" b="1"/>
            </a:lvl2pPr>
            <a:lvl3pPr marL="676129" indent="0">
              <a:buNone/>
              <a:defRPr sz="1248" b="1"/>
            </a:lvl3pPr>
            <a:lvl4pPr marL="1014193" indent="0">
              <a:buNone/>
              <a:defRPr sz="1248" b="1"/>
            </a:lvl4pPr>
            <a:lvl5pPr marL="1352262" indent="0">
              <a:buNone/>
              <a:defRPr sz="1248" b="1"/>
            </a:lvl5pPr>
            <a:lvl6pPr marL="1690328" indent="0">
              <a:buNone/>
              <a:defRPr sz="1248" b="1"/>
            </a:lvl6pPr>
            <a:lvl7pPr marL="2028392" indent="0">
              <a:buNone/>
              <a:defRPr sz="1248" b="1"/>
            </a:lvl7pPr>
            <a:lvl8pPr marL="2366457" indent="0">
              <a:buNone/>
              <a:defRPr sz="1248" b="1"/>
            </a:lvl8pPr>
            <a:lvl9pPr marL="2704521" indent="0">
              <a:buNone/>
              <a:defRPr sz="124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20" y="9598193"/>
            <a:ext cx="9454097" cy="17439217"/>
          </a:xfrm>
        </p:spPr>
        <p:txBody>
          <a:bodyPr/>
          <a:lstStyle>
            <a:lvl1pPr>
              <a:defRPr sz="1664"/>
            </a:lvl1pPr>
            <a:lvl2pPr>
              <a:defRPr sz="1664"/>
            </a:lvl2pPr>
            <a:lvl3pPr>
              <a:defRPr sz="1248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869377" y="6775014"/>
            <a:ext cx="9457134" cy="2823178"/>
          </a:xfrm>
        </p:spPr>
        <p:txBody>
          <a:bodyPr anchor="b"/>
          <a:lstStyle>
            <a:lvl1pPr marL="0" indent="0">
              <a:buNone/>
              <a:defRPr sz="1664" b="1"/>
            </a:lvl1pPr>
            <a:lvl2pPr marL="338064" indent="0">
              <a:buNone/>
              <a:defRPr sz="1664" b="1"/>
            </a:lvl2pPr>
            <a:lvl3pPr marL="676129" indent="0">
              <a:buNone/>
              <a:defRPr sz="1248" b="1"/>
            </a:lvl3pPr>
            <a:lvl4pPr marL="1014193" indent="0">
              <a:buNone/>
              <a:defRPr sz="1248" b="1"/>
            </a:lvl4pPr>
            <a:lvl5pPr marL="1352262" indent="0">
              <a:buNone/>
              <a:defRPr sz="1248" b="1"/>
            </a:lvl5pPr>
            <a:lvl6pPr marL="1690328" indent="0">
              <a:buNone/>
              <a:defRPr sz="1248" b="1"/>
            </a:lvl6pPr>
            <a:lvl7pPr marL="2028392" indent="0">
              <a:buNone/>
              <a:defRPr sz="1248" b="1"/>
            </a:lvl7pPr>
            <a:lvl8pPr marL="2366457" indent="0">
              <a:buNone/>
              <a:defRPr sz="1248" b="1"/>
            </a:lvl8pPr>
            <a:lvl9pPr marL="2704521" indent="0">
              <a:buNone/>
              <a:defRPr sz="124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869377" y="9598193"/>
            <a:ext cx="9457134" cy="17439217"/>
          </a:xfrm>
        </p:spPr>
        <p:txBody>
          <a:bodyPr/>
          <a:lstStyle>
            <a:lvl1pPr>
              <a:defRPr sz="1664"/>
            </a:lvl1pPr>
            <a:lvl2pPr>
              <a:defRPr sz="1664"/>
            </a:lvl2pPr>
            <a:lvl3pPr>
              <a:defRPr sz="1248"/>
            </a:lvl3pPr>
            <a:lvl4pPr>
              <a:defRPr sz="1248"/>
            </a:lvl4pPr>
            <a:lvl5pPr>
              <a:defRPr sz="1248"/>
            </a:lvl5pPr>
            <a:lvl6pPr>
              <a:defRPr sz="1248"/>
            </a:lvl6pPr>
            <a:lvl7pPr>
              <a:defRPr sz="1248"/>
            </a:lvl7pPr>
            <a:lvl8pPr>
              <a:defRPr sz="1248"/>
            </a:lvl8pPr>
            <a:lvl9pPr>
              <a:defRPr sz="124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385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39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0CABC3F8-93D1-4C43-B979-654E43A20F9D}"/>
              </a:ext>
            </a:extLst>
          </p:cNvPr>
          <p:cNvSpPr txBox="1"/>
          <p:nvPr userDrawn="1"/>
        </p:nvSpPr>
        <p:spPr>
          <a:xfrm>
            <a:off x="20675065" y="30127742"/>
            <a:ext cx="721261" cy="1120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28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  <p:pic>
        <p:nvPicPr>
          <p:cNvPr id="3" name="Picture 2" descr="A black background with blue and green letters&#10;&#10;Description automatically generated">
            <a:extLst>
              <a:ext uri="{FF2B5EF4-FFF2-40B4-BE49-F238E27FC236}">
                <a16:creationId xmlns:a16="http://schemas.microsoft.com/office/drawing/2014/main" id="{490062C5-BAD4-4B91-A359-932F96D6B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93" y="28849637"/>
            <a:ext cx="5178269" cy="9381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127A5C-C469-5B41-7264-CBEFFF81407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21396325" cy="370363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1" r:id="rId3"/>
  </p:sldLayoutIdLst>
  <p:hf hdr="0"/>
  <p:txStyles>
    <p:titleStyle>
      <a:lvl1pPr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2pPr>
      <a:lvl3pPr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3pPr>
      <a:lvl4pPr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4pPr>
      <a:lvl5pPr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5pPr>
      <a:lvl6pPr marL="338064"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6pPr>
      <a:lvl7pPr marL="676129"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7pPr>
      <a:lvl8pPr marL="1014193"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8pPr>
      <a:lvl9pPr marL="1352262" algn="l" defTabSz="3360697" rtl="0" eaLnBrk="1" fontAlgn="base" hangingPunct="1">
        <a:spcBef>
          <a:spcPct val="10000"/>
        </a:spcBef>
        <a:spcAft>
          <a:spcPct val="20000"/>
        </a:spcAft>
        <a:defRPr sz="6656" b="1">
          <a:solidFill>
            <a:schemeClr val="tx2"/>
          </a:solidFill>
          <a:latin typeface="Arial" charset="0"/>
        </a:defRPr>
      </a:lvl9pPr>
    </p:titleStyle>
    <p:bodyStyle>
      <a:lvl1pPr marL="1260704" indent="-1260704" algn="l" defTabSz="3360697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50000"/>
        <a:buFont typeface="CommonBullets" pitchFamily="34" charset="2"/>
        <a:defRPr sz="2496">
          <a:solidFill>
            <a:schemeClr val="tx1"/>
          </a:solidFill>
          <a:latin typeface="+mn-lt"/>
          <a:ea typeface="+mn-ea"/>
          <a:cs typeface="+mn-cs"/>
        </a:defRPr>
      </a:lvl1pPr>
      <a:lvl2pPr marL="2731519" indent="-1051761" algn="l" defTabSz="3360697" rtl="0" eaLnBrk="1" fontAlgn="base" hangingPunct="1">
        <a:spcBef>
          <a:spcPct val="10000"/>
        </a:spcBef>
        <a:spcAft>
          <a:spcPct val="20000"/>
        </a:spcAft>
        <a:buSzPct val="45000"/>
        <a:buFont typeface="CommonBullets" pitchFamily="34" charset="2"/>
        <a:buChar char="l"/>
        <a:defRPr sz="7488">
          <a:solidFill>
            <a:schemeClr val="tx1"/>
          </a:solidFill>
          <a:latin typeface="+mn-lt"/>
        </a:defRPr>
      </a:lvl2pPr>
      <a:lvl3pPr marL="4201168" indent="-840466" algn="l" defTabSz="3360697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40000"/>
        <a:buFont typeface="CommonBullets" pitchFamily="34" charset="2"/>
        <a:buChar char="l"/>
        <a:defRPr sz="6656">
          <a:solidFill>
            <a:schemeClr val="tx1"/>
          </a:solidFill>
          <a:latin typeface="+mn-lt"/>
        </a:defRPr>
      </a:lvl3pPr>
      <a:lvl4pPr marL="5741245" indent="-839294" algn="l" defTabSz="3360697" rtl="0" eaLnBrk="1" fontAlgn="base" hangingPunct="1">
        <a:spcBef>
          <a:spcPct val="10000"/>
        </a:spcBef>
        <a:spcAft>
          <a:spcPct val="20000"/>
        </a:spcAft>
        <a:buSzPct val="35000"/>
        <a:buFont typeface="CommonBullets" pitchFamily="34" charset="2"/>
        <a:buChar char="l"/>
        <a:defRPr sz="5824">
          <a:solidFill>
            <a:schemeClr val="tx1"/>
          </a:solidFill>
          <a:latin typeface="+mn-lt"/>
        </a:defRPr>
      </a:lvl4pPr>
      <a:lvl5pPr marL="7282492" indent="-840466" algn="l" defTabSz="3360697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992">
          <a:solidFill>
            <a:schemeClr val="tx1"/>
          </a:solidFill>
          <a:latin typeface="+mn-lt"/>
        </a:defRPr>
      </a:lvl5pPr>
      <a:lvl6pPr marL="7620556" indent="-840466" algn="l" defTabSz="3360697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992">
          <a:solidFill>
            <a:schemeClr val="tx1"/>
          </a:solidFill>
          <a:latin typeface="+mn-lt"/>
        </a:defRPr>
      </a:lvl6pPr>
      <a:lvl7pPr marL="7958621" indent="-840466" algn="l" defTabSz="3360697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992">
          <a:solidFill>
            <a:schemeClr val="tx1"/>
          </a:solidFill>
          <a:latin typeface="+mn-lt"/>
        </a:defRPr>
      </a:lvl7pPr>
      <a:lvl8pPr marL="8296685" indent="-840466" algn="l" defTabSz="3360697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992">
          <a:solidFill>
            <a:schemeClr val="tx1"/>
          </a:solidFill>
          <a:latin typeface="+mn-lt"/>
        </a:defRPr>
      </a:lvl8pPr>
      <a:lvl9pPr marL="8634752" indent="-840466" algn="l" defTabSz="3360697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992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1pPr>
      <a:lvl2pPr marL="338064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2pPr>
      <a:lvl3pPr marL="676129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3pPr>
      <a:lvl4pPr marL="1014193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4pPr>
      <a:lvl5pPr marL="135226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5pPr>
      <a:lvl6pPr marL="1690328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6pPr>
      <a:lvl7pPr marL="202839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7pPr>
      <a:lvl8pPr marL="2366457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8pPr>
      <a:lvl9pPr marL="2704521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16" y="1211840"/>
            <a:ext cx="19256693" cy="5044546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16" y="7062569"/>
            <a:ext cx="19256693" cy="19974839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9816" y="28053099"/>
            <a:ext cx="4992476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6799F-0A25-48E1-93D5-D2807F49CD2E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10415" y="28053099"/>
            <a:ext cx="6775503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34033" y="28053099"/>
            <a:ext cx="4992476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F890E11B-C964-457B-A145-00A0703E114A}"/>
              </a:ext>
            </a:extLst>
          </p:cNvPr>
          <p:cNvSpPr txBox="1"/>
          <p:nvPr userDrawn="1"/>
        </p:nvSpPr>
        <p:spPr>
          <a:xfrm>
            <a:off x="20675065" y="30127742"/>
            <a:ext cx="721261" cy="1120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28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4126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txStyles>
    <p:titleStyle>
      <a:lvl1pPr algn="ctr" defTabSz="676129" rtl="0" eaLnBrk="1" latinLnBrk="0" hangingPunct="1">
        <a:spcBef>
          <a:spcPct val="0"/>
        </a:spcBef>
        <a:buNone/>
        <a:defRPr sz="332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3550" indent="-253550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96" kern="1200">
          <a:solidFill>
            <a:schemeClr val="tx1"/>
          </a:solidFill>
          <a:latin typeface="+mn-lt"/>
          <a:ea typeface="+mn-ea"/>
          <a:cs typeface="+mn-cs"/>
        </a:defRPr>
      </a:lvl1pPr>
      <a:lvl2pPr marL="549359" indent="-211288" algn="l" defTabSz="67612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80" kern="1200">
          <a:solidFill>
            <a:schemeClr val="tx1"/>
          </a:solidFill>
          <a:latin typeface="+mn-lt"/>
          <a:ea typeface="+mn-ea"/>
          <a:cs typeface="+mn-cs"/>
        </a:defRPr>
      </a:lvl2pPr>
      <a:lvl3pPr marL="845162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3pPr>
      <a:lvl4pPr marL="1183231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–"/>
        <a:defRPr sz="1664" kern="1200">
          <a:solidFill>
            <a:schemeClr val="tx1"/>
          </a:solidFill>
          <a:latin typeface="+mn-lt"/>
          <a:ea typeface="+mn-ea"/>
          <a:cs typeface="+mn-cs"/>
        </a:defRPr>
      </a:lvl4pPr>
      <a:lvl5pPr marL="1521295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»"/>
        <a:defRPr sz="1664" kern="1200">
          <a:solidFill>
            <a:schemeClr val="tx1"/>
          </a:solidFill>
          <a:latin typeface="+mn-lt"/>
          <a:ea typeface="+mn-ea"/>
          <a:cs typeface="+mn-cs"/>
        </a:defRPr>
      </a:lvl5pPr>
      <a:lvl6pPr marL="1859360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6pPr>
      <a:lvl7pPr marL="2197424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7pPr>
      <a:lvl8pPr marL="2535489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8pPr>
      <a:lvl9pPr marL="2873554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1pPr>
      <a:lvl2pPr marL="338064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2pPr>
      <a:lvl3pPr marL="676129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3pPr>
      <a:lvl4pPr marL="1014193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4pPr>
      <a:lvl5pPr marL="135226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5pPr>
      <a:lvl6pPr marL="1690328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6pPr>
      <a:lvl7pPr marL="202839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7pPr>
      <a:lvl8pPr marL="2366457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8pPr>
      <a:lvl9pPr marL="2704521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16" y="1211840"/>
            <a:ext cx="19256693" cy="5044546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16" y="7062569"/>
            <a:ext cx="19256693" cy="19974839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9816" y="28053099"/>
            <a:ext cx="4992476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C423ED-6A83-433F-A2E6-A3CF0250EF33}" type="datetimeFigureOut">
              <a:rPr lang="en-US" smtClean="0"/>
              <a:t>4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10415" y="28053099"/>
            <a:ext cx="6775503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34033" y="28053099"/>
            <a:ext cx="4992476" cy="1611338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DB787B0E-CAED-4920-AD8F-FD255E53A4AE}"/>
              </a:ext>
            </a:extLst>
          </p:cNvPr>
          <p:cNvSpPr txBox="1"/>
          <p:nvPr userDrawn="1"/>
        </p:nvSpPr>
        <p:spPr>
          <a:xfrm>
            <a:off x="20675065" y="30127742"/>
            <a:ext cx="721261" cy="1120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28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304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ctr" defTabSz="676129" rtl="0" eaLnBrk="1" latinLnBrk="0" hangingPunct="1">
        <a:spcBef>
          <a:spcPct val="0"/>
        </a:spcBef>
        <a:buNone/>
        <a:defRPr sz="332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3550" indent="-253550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96" kern="1200">
          <a:solidFill>
            <a:schemeClr val="tx1"/>
          </a:solidFill>
          <a:latin typeface="+mn-lt"/>
          <a:ea typeface="+mn-ea"/>
          <a:cs typeface="+mn-cs"/>
        </a:defRPr>
      </a:lvl1pPr>
      <a:lvl2pPr marL="549359" indent="-211288" algn="l" defTabSz="67612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80" kern="1200">
          <a:solidFill>
            <a:schemeClr val="tx1"/>
          </a:solidFill>
          <a:latin typeface="+mn-lt"/>
          <a:ea typeface="+mn-ea"/>
          <a:cs typeface="+mn-cs"/>
        </a:defRPr>
      </a:lvl2pPr>
      <a:lvl3pPr marL="845162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3pPr>
      <a:lvl4pPr marL="1183231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–"/>
        <a:defRPr sz="1664" kern="1200">
          <a:solidFill>
            <a:schemeClr val="tx1"/>
          </a:solidFill>
          <a:latin typeface="+mn-lt"/>
          <a:ea typeface="+mn-ea"/>
          <a:cs typeface="+mn-cs"/>
        </a:defRPr>
      </a:lvl4pPr>
      <a:lvl5pPr marL="1521295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»"/>
        <a:defRPr sz="1664" kern="1200">
          <a:solidFill>
            <a:schemeClr val="tx1"/>
          </a:solidFill>
          <a:latin typeface="+mn-lt"/>
          <a:ea typeface="+mn-ea"/>
          <a:cs typeface="+mn-cs"/>
        </a:defRPr>
      </a:lvl5pPr>
      <a:lvl6pPr marL="1859360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6pPr>
      <a:lvl7pPr marL="2197424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7pPr>
      <a:lvl8pPr marL="2535489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8pPr>
      <a:lvl9pPr marL="2873554" indent="-169033" algn="l" defTabSz="67612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1pPr>
      <a:lvl2pPr marL="338064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2pPr>
      <a:lvl3pPr marL="676129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3pPr>
      <a:lvl4pPr marL="1014193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4pPr>
      <a:lvl5pPr marL="135226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5pPr>
      <a:lvl6pPr marL="1690328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6pPr>
      <a:lvl7pPr marL="2028392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7pPr>
      <a:lvl8pPr marL="2366457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8pPr>
      <a:lvl9pPr marL="2704521" algn="l" defTabSz="676129" rtl="0" eaLnBrk="1" latinLnBrk="0" hangingPunct="1">
        <a:defRPr sz="12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inhoud 12"/>
          <p:cNvSpPr>
            <a:spLocks noGrp="1"/>
          </p:cNvSpPr>
          <p:nvPr>
            <p:ph idx="1"/>
          </p:nvPr>
        </p:nvSpPr>
        <p:spPr>
          <a:xfrm>
            <a:off x="713212" y="5869710"/>
            <a:ext cx="19969903" cy="21834364"/>
          </a:xfrm>
        </p:spPr>
        <p:txBody>
          <a:bodyPr/>
          <a:lstStyle/>
          <a:p>
            <a:r>
              <a:rPr lang="nl-NL" sz="2496" dirty="0" err="1">
                <a:solidFill>
                  <a:srgbClr val="000000"/>
                </a:solidFill>
              </a:rPr>
              <a:t>Text</a:t>
            </a:r>
            <a:r>
              <a:rPr lang="nl-NL" sz="2496" dirty="0">
                <a:solidFill>
                  <a:srgbClr val="000000"/>
                </a:solidFill>
              </a:rPr>
              <a:t> </a:t>
            </a:r>
            <a:r>
              <a:rPr lang="nl-NL" sz="2496" dirty="0" err="1">
                <a:solidFill>
                  <a:srgbClr val="000000"/>
                </a:solidFill>
              </a:rPr>
              <a:t>example</a:t>
            </a:r>
            <a:r>
              <a:rPr lang="nl-NL" sz="2496" dirty="0">
                <a:solidFill>
                  <a:srgbClr val="000000"/>
                </a:solidFill>
              </a:rPr>
              <a:t> (</a:t>
            </a:r>
            <a:r>
              <a:rPr lang="nl-NL" sz="2496" dirty="0" err="1">
                <a:solidFill>
                  <a:srgbClr val="000000"/>
                </a:solidFill>
              </a:rPr>
              <a:t>minimal</a:t>
            </a:r>
            <a:r>
              <a:rPr lang="nl-NL" sz="2496" dirty="0">
                <a:solidFill>
                  <a:srgbClr val="000000"/>
                </a:solidFill>
              </a:rPr>
              <a:t> 24 </a:t>
            </a:r>
            <a:r>
              <a:rPr lang="nl-NL" sz="2496" dirty="0" err="1">
                <a:solidFill>
                  <a:srgbClr val="000000"/>
                </a:solidFill>
              </a:rPr>
              <a:t>px</a:t>
            </a:r>
            <a:r>
              <a:rPr lang="nl-NL" sz="2496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713210" y="3779837"/>
            <a:ext cx="10338238" cy="1033168"/>
          </a:xfrm>
        </p:spPr>
        <p:txBody>
          <a:bodyPr/>
          <a:lstStyle/>
          <a:p>
            <a:r>
              <a:rPr lang="nl-NL" sz="4576" dirty="0" err="1">
                <a:solidFill>
                  <a:srgbClr val="6E2B89"/>
                </a:solidFill>
              </a:rPr>
              <a:t>Title</a:t>
            </a:r>
            <a:r>
              <a:rPr lang="nl-NL" sz="4576" dirty="0">
                <a:solidFill>
                  <a:srgbClr val="6E2B89"/>
                </a:solidFill>
              </a:rPr>
              <a:t> (</a:t>
            </a:r>
            <a:r>
              <a:rPr lang="nl-NL" sz="4576" dirty="0" err="1">
                <a:solidFill>
                  <a:srgbClr val="6E2B89"/>
                </a:solidFill>
              </a:rPr>
              <a:t>Arial</a:t>
            </a:r>
            <a:r>
              <a:rPr lang="nl-NL" sz="4576" dirty="0">
                <a:solidFill>
                  <a:srgbClr val="6E2B89"/>
                </a:solidFill>
              </a:rPr>
              <a:t>, 44px </a:t>
            </a:r>
            <a:r>
              <a:rPr lang="nl-NL" sz="4576" dirty="0" err="1">
                <a:solidFill>
                  <a:srgbClr val="6E2B89"/>
                </a:solidFill>
              </a:rPr>
              <a:t>bold</a:t>
            </a:r>
            <a:r>
              <a:rPr lang="nl-NL" sz="4576" dirty="0">
                <a:solidFill>
                  <a:srgbClr val="6E2B89"/>
                </a:solidFill>
              </a:rPr>
              <a:t>)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3"/>
          </p:nvPr>
        </p:nvSpPr>
        <p:spPr>
          <a:xfrm>
            <a:off x="713210" y="5084492"/>
            <a:ext cx="10338238" cy="619510"/>
          </a:xfrm>
        </p:spPr>
        <p:txBody>
          <a:bodyPr/>
          <a:lstStyle/>
          <a:p>
            <a:r>
              <a:rPr lang="nl-NL" sz="2912" dirty="0">
                <a:solidFill>
                  <a:srgbClr val="2BABE2"/>
                </a:solidFill>
              </a:rPr>
              <a:t>Author(s): (</a:t>
            </a:r>
            <a:r>
              <a:rPr lang="nl-NL" sz="2912" dirty="0" err="1">
                <a:solidFill>
                  <a:srgbClr val="2BABE2"/>
                </a:solidFill>
              </a:rPr>
              <a:t>minimal</a:t>
            </a:r>
            <a:r>
              <a:rPr lang="nl-NL" sz="2912" dirty="0">
                <a:solidFill>
                  <a:srgbClr val="2BABE2"/>
                </a:solidFill>
              </a:rPr>
              <a:t>  28 </a:t>
            </a:r>
            <a:r>
              <a:rPr lang="nl-NL" sz="2912" dirty="0" err="1">
                <a:solidFill>
                  <a:srgbClr val="2BABE2"/>
                </a:solidFill>
              </a:rPr>
              <a:t>px</a:t>
            </a:r>
            <a:r>
              <a:rPr lang="nl-NL" sz="2912" dirty="0">
                <a:solidFill>
                  <a:srgbClr val="2BABE2"/>
                </a:solidFill>
              </a:rPr>
              <a:t>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ah+af1VEdInFy5jxqtA04FAAAAAAADAAAAAAADAAAAAwADAAEA////////BAAAAAMAEAAL+dZxuhfEoUy6nSCSWXhV8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Dah+af1VEdInFy5jxqtA04DRGF0YQAbAAAABExpbmtlZFNoYXBlRGF0YQAFAAAAAAACTmFtZQAZAAAATGlua2VkU2hhcGVzRGF0YVByb3BlcnR5ABBWZXJzaW9uAAAAAAAJTGFzdFdyaXRlABL6BgqEAQAAAAEA/////8YAxgAAAAVfaWQAEAAAAAT51nG6F8ShTLqdIJJZeFXyA0RhdGEAUwAAAAhQcmVzZW50YXRpb25TY2FubmVkRm9yTGlua2VkU2hhcGVzAAECTnVtYmVyRm9ybWF0U2VwYXJhdG9yTW9kZQAKAAAAQXV0b21hdGljAAACTmFtZQAkAAAATGlua2VkU2hhcGVQcmVzZW50YXRpb25TZXR0aW5nc0RhdGEAEFZlcnNpb24AAAAAAAlMYXN0V3JpdGUATvoGC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posterportraittemplate_TC2013_Vs2">
  <a:themeElements>
    <a:clrScheme name="ASML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1C7DDB"/>
      </a:hlink>
      <a:folHlink>
        <a:srgbClr val="8E8E8E"/>
      </a:folHlink>
    </a:clrScheme>
    <a:fontScheme name="ASML_Presentation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SML_Presentation.pot 1">
        <a:dk1>
          <a:srgbClr val="0F238C"/>
        </a:dk1>
        <a:lt1>
          <a:srgbClr val="FFFFFF"/>
        </a:lt1>
        <a:dk2>
          <a:srgbClr val="0F238C"/>
        </a:dk2>
        <a:lt2>
          <a:srgbClr val="86CEF4"/>
        </a:lt2>
        <a:accent1>
          <a:srgbClr val="1C7DDB"/>
        </a:accent1>
        <a:accent2>
          <a:srgbClr val="FF870C"/>
        </a:accent2>
        <a:accent3>
          <a:srgbClr val="FFFFFF"/>
        </a:accent3>
        <a:accent4>
          <a:srgbClr val="0B1C77"/>
        </a:accent4>
        <a:accent5>
          <a:srgbClr val="ABBFEA"/>
        </a:accent5>
        <a:accent6>
          <a:srgbClr val="E77A0A"/>
        </a:accent6>
        <a:hlink>
          <a:srgbClr val="27BA51"/>
        </a:hlink>
        <a:folHlink>
          <a:srgbClr val="FFE51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sterportraittemplate_TC2013_Vs2</Template>
  <TotalTime>275</TotalTime>
  <Words>24</Words>
  <Application>Microsoft Office PowerPoint</Application>
  <PresentationFormat>Custom</PresentationFormat>
  <Paragraphs>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ommonBullets</vt:lpstr>
      <vt:lpstr>posterportraittemplate_TC2013_Vs2</vt:lpstr>
      <vt:lpstr>Custom Design</vt:lpstr>
      <vt:lpstr>1_Custom Design</vt:lpstr>
      <vt:lpstr>Title (Arial, 44px bold)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, 60pt bold)</dc:title>
  <dc:subject>Template for an A0 presentation</dc:subject>
  <dc:creator>Saskia Boeije</dc:creator>
  <cp:lastModifiedBy>Hough,Mackenzie C</cp:lastModifiedBy>
  <cp:revision>22</cp:revision>
  <cp:lastPrinted>2003-03-19T16:10:53Z</cp:lastPrinted>
  <dcterms:created xsi:type="dcterms:W3CDTF">2014-02-27T16:39:44Z</dcterms:created>
  <dcterms:modified xsi:type="dcterms:W3CDTF">2026-04-15T13:50:48Z</dcterms:modified>
  <cp:category>Corporate Identit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etDate">
    <vt:lpwstr>2022-10-24T12:48:34Z</vt:lpwstr>
  </property>
  <property fmtid="{D5CDD505-2E9C-101B-9397-08002B2CF9AE}" pid="4" name="MSIP_Label_1c18959a-f805-4b02-b465-c75c791063b3_Method">
    <vt:lpwstr>Privileged</vt:lpwstr>
  </property>
  <property fmtid="{D5CDD505-2E9C-101B-9397-08002B2CF9AE}" pid="5" name="MSIP_Label_1c18959a-f805-4b02-b465-c75c791063b3_Name">
    <vt:lpwstr>1c18959a-f805-4b02-b465-c75c791063b3</vt:lpwstr>
  </property>
  <property fmtid="{D5CDD505-2E9C-101B-9397-08002B2CF9AE}" pid="6" name="MSIP_Label_1c18959a-f805-4b02-b465-c75c791063b3_SiteId">
    <vt:lpwstr>af73baa8-f594-4eb2-a39d-93e96cad61fc</vt:lpwstr>
  </property>
  <property fmtid="{D5CDD505-2E9C-101B-9397-08002B2CF9AE}" pid="7" name="MSIP_Label_1c18959a-f805-4b02-b465-c75c791063b3_ActionId">
    <vt:lpwstr>6e834bf0-6bfe-4628-b272-b8e42646a76c</vt:lpwstr>
  </property>
  <property fmtid="{D5CDD505-2E9C-101B-9397-08002B2CF9AE}" pid="8" name="MSIP_Label_1c18959a-f805-4b02-b465-c75c791063b3_ContentBits">
    <vt:lpwstr>2</vt:lpwstr>
  </property>
</Properties>
</file>